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1EB4CC26-39EA-4386-A3D5-52221B02BD77}">
          <p14:sldIdLst>
            <p14:sldId id="2147475173"/>
            <p14:sldId id="2147475174"/>
            <p14:sldId id="2147475175"/>
            <p14:sldId id="2147475176"/>
            <p14:sldId id="2147475177"/>
            <p14:sldId id="2147475178"/>
            <p14:sldId id="2147475179"/>
            <p14:sldId id="2147475180"/>
            <p14:sldId id="2147475181"/>
          </p14:sldIdLst>
        </p14:section>
        <p14:section name="Brackets By Sector" id="{2290AB97-B142-4A7A-AED8-B019EB130632}">
          <p14:sldIdLst>
            <p14:sldId id="2147475182"/>
            <p14:sldId id="2147475183"/>
            <p14:sldId id="2147475184"/>
            <p14:sldId id="2147475185"/>
            <p14:sldId id="2147475186"/>
            <p14:sldId id="2147475187"/>
            <p14:sldId id="2147475188"/>
            <p14:sldId id="2147475189"/>
            <p14:sldId id="2147475190"/>
          </p14:sldIdLst>
        </p14:section>
        <p14:section name="Brackets By Segment" id="{8C479ADD-A659-4054-84B2-35A3412A5F0F}">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014109161964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380378094993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5709561114125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1527308419069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8237666396748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4926235802969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00311054065661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4109864626318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7594841045602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750669599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720054877672184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006228964618197</c:v>
                </c:pt>
                <c:pt idx="3">
                  <c:v>0.99399377103538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1214428017079657</c:v>
                </c:pt>
                <c:pt idx="3">
                  <c:v>0.98878543307002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8456622879144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03460955159996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53018146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341935612729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7707891118609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67647854424658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81587847154394</c:v>
                </c:pt>
                <c:pt idx="3">
                  <c:v>0.951841215284560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872401740407129</c:v>
                </c:pt>
                <c:pt idx="3">
                  <c:v>0.9112748835864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750669599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006228964618197</c:v>
                </c:pt>
                <c:pt idx="3">
                  <c:v>0.99399377103538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5515052487705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1214428017079657</c:v>
                </c:pt>
                <c:pt idx="3">
                  <c:v>0.98878543307002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875153603401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53018146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8979485020654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81587847154394</c:v>
                </c:pt>
                <c:pt idx="3">
                  <c:v>0.951841215284560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872401740407129</c:v>
                </c:pt>
                <c:pt idx="3">
                  <c:v>0.9112748835864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750669599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3255846227439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006228964618197</c:v>
                </c:pt>
                <c:pt idx="3">
                  <c:v>0.993993771035381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0476051752909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1214428017079657</c:v>
                </c:pt>
                <c:pt idx="3">
                  <c:v>0.98878543307002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999999999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3281690291126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2356440195470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14462086261064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999853018146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477890637743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481587847154394</c:v>
                </c:pt>
                <c:pt idx="3">
                  <c:v>0.951841215284560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75085520330023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8872401740407129</c:v>
                </c:pt>
                <c:pt idx="3">
                  <c:v>0.9112748835864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9150682195256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7195893438850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049497185520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14668210511141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418960146364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25144625283847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2817327035301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857669844679666</c:v>
                </c:pt>
                <c:pt idx="3">
                  <c:v>0.97142148840952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23908263310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816373420501108</c:v>
                </c:pt>
                <c:pt idx="3">
                  <c:v>0.9961833422044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045556310157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7701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4989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09089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376126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3083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35342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66820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5287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03546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08035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68401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220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42771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85158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74249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68129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85771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60405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351714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467918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1773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39788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7845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0865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82378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717817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107493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23409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61479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46337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4636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7465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0936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73336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3951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1315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